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258" r:id="rId2"/>
    <p:sldId id="293" r:id="rId3"/>
    <p:sldId id="294" r:id="rId4"/>
    <p:sldId id="301" r:id="rId5"/>
    <p:sldId id="287" r:id="rId6"/>
    <p:sldId id="299" r:id="rId7"/>
    <p:sldId id="302" r:id="rId8"/>
    <p:sldId id="285" r:id="rId9"/>
    <p:sldId id="286" r:id="rId10"/>
    <p:sldId id="291" r:id="rId11"/>
    <p:sldId id="295" r:id="rId12"/>
    <p:sldId id="282" r:id="rId13"/>
    <p:sldId id="264" r:id="rId14"/>
    <p:sldId id="265" r:id="rId15"/>
    <p:sldId id="266" r:id="rId16"/>
    <p:sldId id="267" r:id="rId17"/>
    <p:sldId id="268" r:id="rId18"/>
    <p:sldId id="269" r:id="rId19"/>
    <p:sldId id="270" r:id="rId20"/>
    <p:sldId id="303" r:id="rId21"/>
    <p:sldId id="271" r:id="rId22"/>
    <p:sldId id="272" r:id="rId23"/>
    <p:sldId id="273" r:id="rId24"/>
    <p:sldId id="274" r:id="rId25"/>
    <p:sldId id="276" r:id="rId26"/>
    <p:sldId id="277" r:id="rId27"/>
    <p:sldId id="278" r:id="rId28"/>
    <p:sldId id="296" r:id="rId29"/>
    <p:sldId id="288" r:id="rId30"/>
    <p:sldId id="279" r:id="rId31"/>
    <p:sldId id="280" r:id="rId32"/>
    <p:sldId id="297" r:id="rId33"/>
    <p:sldId id="281" r:id="rId34"/>
    <p:sldId id="292" r:id="rId35"/>
    <p:sldId id="298" r:id="rId36"/>
    <p:sldId id="284" r:id="rId37"/>
    <p:sldId id="290" r:id="rId38"/>
  </p:sldIdLst>
  <p:sldSz cx="9144000" cy="6858000" type="screen4x3"/>
  <p:notesSz cx="6858000" cy="9144000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39"/>
    <p:restoredTop sz="50000"/>
  </p:normalViewPr>
  <p:slideViewPr>
    <p:cSldViewPr snapToGrid="0" showGuides="1">
      <p:cViewPr>
        <p:scale>
          <a:sx n="110" d="100"/>
          <a:sy n="110" d="100"/>
        </p:scale>
        <p:origin x="1288" y="14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notesMaster" Target="notesMasters/notesMaster1.xml"/><Relationship Id="rId40" Type="http://schemas.openxmlformats.org/officeDocument/2006/relationships/handoutMaster" Target="handoutMasters/handoutMaster1.xml"/><Relationship Id="rId41" Type="http://schemas.openxmlformats.org/officeDocument/2006/relationships/tags" Target="tags/tag1.xml"/><Relationship Id="rId42" Type="http://schemas.openxmlformats.org/officeDocument/2006/relationships/presProps" Target="presProps.xml"/><Relationship Id="rId43" Type="http://schemas.openxmlformats.org/officeDocument/2006/relationships/viewProps" Target="viewProps.xml"/><Relationship Id="rId44" Type="http://schemas.openxmlformats.org/officeDocument/2006/relationships/theme" Target="theme/theme1.xml"/><Relationship Id="rId4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7/09/2016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2369AE-E1B7-9343-9CA5-92592526C0EC}" type="datetimeFigureOut">
              <a:rPr lang="en-US" smtClean="0"/>
              <a:t>9/7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84FAA6-E4DF-D74D-BC3F-165457C09D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207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ello Good Morning</a:t>
            </a:r>
          </a:p>
          <a:p>
            <a:endParaRPr lang="en-US" dirty="0" smtClean="0"/>
          </a:p>
          <a:p>
            <a:r>
              <a:rPr lang="en-US" dirty="0" smtClean="0"/>
              <a:t>Thanks for coming</a:t>
            </a:r>
          </a:p>
          <a:p>
            <a:endParaRPr lang="en-US" dirty="0" smtClean="0"/>
          </a:p>
          <a:p>
            <a:r>
              <a:rPr lang="en-US" dirty="0" smtClean="0"/>
              <a:t>Today I will present about my thesis work with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077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563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Kasi</a:t>
            </a:r>
            <a:r>
              <a:rPr lang="en-US" dirty="0" smtClean="0"/>
              <a:t> </a:t>
            </a:r>
            <a:r>
              <a:rPr lang="en-US" dirty="0" err="1" smtClean="0"/>
              <a:t>panah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5664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Kasi</a:t>
            </a:r>
            <a:r>
              <a:rPr lang="en-US" dirty="0" smtClean="0"/>
              <a:t> </a:t>
            </a:r>
            <a:r>
              <a:rPr lang="en-US" dirty="0" err="1" smtClean="0"/>
              <a:t>gambar</a:t>
            </a:r>
            <a:r>
              <a:rPr lang="en-US" dirty="0" smtClean="0"/>
              <a:t> 5-tu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2353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CAM: Specialized memory for fast lookup</a:t>
            </a:r>
          </a:p>
          <a:p>
            <a:endParaRPr lang="en-US" dirty="0" smtClean="0"/>
          </a:p>
          <a:p>
            <a:r>
              <a:rPr lang="en-US" dirty="0" smtClean="0"/>
              <a:t>MC-SBC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dimensional-cutting vi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ective bit-concaten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384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alah </a:t>
            </a:r>
            <a:r>
              <a:rPr lang="en-US" dirty="0" err="1" smtClean="0"/>
              <a:t>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8949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ikat</a:t>
            </a:r>
            <a:r>
              <a:rPr lang="en-US" dirty="0" smtClean="0"/>
              <a:t> </a:t>
            </a:r>
            <a:r>
              <a:rPr lang="en-US" dirty="0" err="1" smtClean="0"/>
              <a:t>semu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926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ikat</a:t>
            </a:r>
            <a:r>
              <a:rPr lang="en-US" dirty="0" smtClean="0"/>
              <a:t> </a:t>
            </a:r>
            <a:r>
              <a:rPr lang="en-US" dirty="0" err="1" smtClean="0"/>
              <a:t>semu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8368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FAA6-E4DF-D74D-BC3F-165457C09DF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13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83178D59-FB6E-2F43-A884-D313607CCEC0}" type="datetime1">
              <a:rPr lang="sv-SE" smtClean="0"/>
              <a:t>2016-09-07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8671D2F5-6886-3746-AF21-F3BE77CEBB6B}" type="datetime1">
              <a:rPr lang="sv-SE" smtClean="0"/>
              <a:t>2016-09-07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BFCBDDAC-7FB9-C243-A212-121AF185F70D}" type="datetime1">
              <a:rPr lang="sv-SE" smtClean="0"/>
              <a:t>2016-09-07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A7354F18-7D9C-7E48-956C-956F3BC0710B}" type="datetime1">
              <a:rPr lang="sv-SE" smtClean="0"/>
              <a:t>2016-09-07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1AB3111-C9A6-3946-BDC7-E2BF708C2EED}" type="datetime1">
              <a:rPr lang="sv-SE" smtClean="0"/>
              <a:t>2016-09-07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2F02482A-AB4A-D641-ACF7-754F3B47B74E}" type="datetime1">
              <a:rPr lang="sv-SE" smtClean="0"/>
              <a:t>2016-09-07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3E34168-4BFB-714A-9B47-B42E0A9D10CF}" type="datetime1">
              <a:rPr lang="sv-SE" smtClean="0"/>
              <a:t>2016-09-07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FC0BD4A-E884-EB44-A733-51ABAF1544FE}" type="datetime1">
              <a:rPr lang="sv-SE" smtClean="0"/>
              <a:t>2016-09-07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09B40A64-7BE3-4345-96B9-7AB5D98DE641}" type="datetime1">
              <a:rPr lang="sv-SE" smtClean="0"/>
              <a:t>2016-09-07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png"/><Relationship Id="rId3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00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0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0.png"/><Relationship Id="rId3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 err="1" smtClean="0"/>
              <a:t>Scalable</a:t>
            </a:r>
            <a:r>
              <a:rPr lang="sv-SE" dirty="0" smtClean="0"/>
              <a:t> 5-Tuple Packet </a:t>
            </a:r>
            <a:r>
              <a:rPr lang="en-US" dirty="0" smtClean="0"/>
              <a:t>Classification</a:t>
            </a:r>
            <a:r>
              <a:rPr lang="sv-SE" dirty="0" smtClean="0"/>
              <a:t> in </a:t>
            </a:r>
            <a:r>
              <a:rPr lang="en-US" dirty="0" smtClean="0"/>
              <a:t>Overlay</a:t>
            </a:r>
            <a:r>
              <a:rPr lang="sv-SE" dirty="0" smtClean="0"/>
              <a:t> </a:t>
            </a:r>
            <a:r>
              <a:rPr lang="sv-SE" dirty="0" err="1" smtClean="0"/>
              <a:t>Network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Muhammad </a:t>
            </a:r>
            <a:r>
              <a:rPr lang="sv-SE" dirty="0" err="1" smtClean="0"/>
              <a:t>Arif</a:t>
            </a:r>
            <a:endParaRPr lang="sv-SE" dirty="0"/>
          </a:p>
          <a:p>
            <a:fld id="{942262C3-E50C-4944-9E77-96437219C7FE}" type="datetime4">
              <a:rPr lang="en-US" smtClean="0"/>
              <a:t>September 7, 2016</a:t>
            </a:fld>
            <a:endParaRPr lang="en-US" dirty="0" smtClean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PP Classifi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836370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Using mask-and-match model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Two main parts: Tables and Sess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238" y="2419109"/>
            <a:ext cx="6377651" cy="3297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33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893427"/>
            <a:ext cx="6935788" cy="668338"/>
          </a:xfrm>
        </p:spPr>
        <p:txBody>
          <a:bodyPr/>
          <a:lstStyle/>
          <a:p>
            <a:r>
              <a:rPr lang="en-US" sz="4800" dirty="0" smtClean="0"/>
              <a:t>Developments</a:t>
            </a: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7174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-Tuple LCAF Implementation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767" y="1515951"/>
            <a:ext cx="4936723" cy="19467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211" y="3621583"/>
            <a:ext cx="4610637" cy="225668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782614" y="2304658"/>
            <a:ext cx="2599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-Tuple LCAF (Current)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041042" y="4565258"/>
            <a:ext cx="284218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</a:t>
            </a:r>
            <a:r>
              <a:rPr lang="en-US" dirty="0" smtClean="0"/>
              <a:t>-Tuple LCAF</a:t>
            </a:r>
          </a:p>
          <a:p>
            <a:r>
              <a:rPr lang="en-US" sz="1400" dirty="0"/>
              <a:t>Based on RFC </a:t>
            </a:r>
            <a:r>
              <a:rPr lang="en-US" sz="1400" dirty="0" smtClean="0"/>
              <a:t>Draft:</a:t>
            </a:r>
            <a:endParaRPr lang="en-US" sz="1400" dirty="0"/>
          </a:p>
          <a:p>
            <a:r>
              <a:rPr lang="en-US" sz="1400" dirty="0"/>
              <a:t>LISP support for Multi-Tuple </a:t>
            </a:r>
            <a:r>
              <a:rPr lang="en-US" sz="1400" dirty="0" smtClean="0"/>
              <a:t>EIDs</a:t>
            </a:r>
            <a:endParaRPr lang="en-US" sz="1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83274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-Tuple Mapping Syste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619250" y="1451026"/>
            <a:ext cx="6935788" cy="2583792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/>
              <a:t>Goals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/>
              <a:t>Faster Lookup Tim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/>
              <a:t>Reduce amount of Control </a:t>
            </a:r>
            <a:r>
              <a:rPr lang="en-US" dirty="0" smtClean="0"/>
              <a:t>Message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Three Layers of Information Bases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NIB: Whole TE Rul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RIB: Subset of NIB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FIB: Ready-to-use Inf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3</a:t>
            </a:fld>
            <a:endParaRPr lang="sv-S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777" y="4034818"/>
            <a:ext cx="5937812" cy="2628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69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-Tuple Mapping System (Cont.)</a:t>
            </a:r>
            <a:endParaRPr lang="en-US" dirty="0"/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412124" y="4034720"/>
            <a:ext cx="8142914" cy="18380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charset="0"/>
              <a:buChar char="•"/>
            </a:pPr>
            <a:r>
              <a:rPr lang="en-US" dirty="0" smtClean="0"/>
              <a:t>Structur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Key: 5-Tuple Information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Match: Destination RLOC and Action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Tag: Copied/Not-Copied to next database (NIB</a:t>
            </a:r>
            <a:r>
              <a:rPr lang="en-US" dirty="0" smtClean="0">
                <a:sym typeface="Wingdings"/>
              </a:rPr>
              <a:t>RIBFIB)</a:t>
            </a:r>
          </a:p>
          <a:p>
            <a:pPr marL="1066800" lvl="2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To be used during update/removal of rule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44" y="1177880"/>
            <a:ext cx="6452673" cy="285684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3003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le Aggregation and Flow Classif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Developed based on VPP Classification method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Basic Ideas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Splitting rules into each header field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Limiting wildcard positions during aggregation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Using Multiple Tables for classific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7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le Aggreg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VPP classifier does not accept variable-sized header (wildcards) mask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Goals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/>
              <a:t>Minimize the number of </a:t>
            </a:r>
            <a:r>
              <a:rPr lang="en-US" dirty="0" smtClean="0"/>
              <a:t>entri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Give flexibility to use wildcards (predicted)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Predicted vs Free Wildcard Positions (4 bits rules)</a:t>
            </a:r>
          </a:p>
          <a:p>
            <a:pPr marL="342900" indent="-342900">
              <a:buFont typeface="Arial" charset="0"/>
              <a:buChar char="•"/>
            </a:pPr>
            <a:endParaRPr lang="en-US" dirty="0"/>
          </a:p>
          <a:p>
            <a:pPr marL="342900" indent="-342900">
              <a:buFont typeface="Arial" charset="0"/>
              <a:buChar char="•"/>
            </a:pPr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pPr marL="342900" indent="-342900">
              <a:buFont typeface="Arial" charset="0"/>
              <a:buChar char="•"/>
            </a:pPr>
            <a:endParaRPr lang="en-US" dirty="0" smtClean="0"/>
          </a:p>
          <a:p>
            <a:pPr marL="342900" indent="-342900">
              <a:buFont typeface="Arial" charset="0"/>
              <a:buChar char="•"/>
            </a:pPr>
            <a:endParaRPr lang="en-US" dirty="0"/>
          </a:p>
          <a:p>
            <a:pPr marL="342900" indent="-342900">
              <a:buFont typeface="Arial" charset="0"/>
              <a:buChar char="•"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058025"/>
              </p:ext>
            </p:extLst>
          </p:nvPr>
        </p:nvGraphicFramePr>
        <p:xfrm>
          <a:off x="3159617" y="3772371"/>
          <a:ext cx="2986088" cy="129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57568"/>
                <a:gridCol w="532130"/>
                <a:gridCol w="532130"/>
                <a:gridCol w="532130"/>
                <a:gridCol w="532130"/>
              </a:tblGrid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Predicted</a:t>
                      </a:r>
                      <a:endParaRPr lang="en-US" sz="11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Free</a:t>
                      </a:r>
                      <a:r>
                        <a:rPr lang="en-US" sz="1100" baseline="0" dirty="0" smtClean="0"/>
                        <a:t> Wildcard Positions</a:t>
                      </a:r>
                      <a:endParaRPr 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1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01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010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1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1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0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10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100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0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0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00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11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000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00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0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0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00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1099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le Aggregation (Cont.)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582739"/>
                <a:ext cx="6935788" cy="1495312"/>
              </a:xfrm>
            </p:spPr>
            <p:txBody>
              <a:bodyPr>
                <a:normAutofit/>
              </a:bodyPr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en-US" dirty="0" smtClean="0"/>
                  <a:t>Inserted rules (with wildcards) are broken down into multiple entrie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charset="0"/>
                          </a:rPr>
                          <m:t>𝐸</m:t>
                        </m:r>
                      </m:e>
                      <m:sub>
                        <m:r>
                          <a:rPr lang="en-US" b="0" i="1" smtClean="0">
                            <a:latin typeface="Cambria Math" charset="0"/>
                          </a:rPr>
                          <m:t>𝑗</m:t>
                        </m:r>
                      </m:sub>
                      <m:sup>
                        <m:r>
                          <a:rPr lang="en-US" b="0" i="1" smtClean="0">
                            <a:latin typeface="Cambria Math" charset="0"/>
                          </a:rPr>
                          <m:t>𝑖</m:t>
                        </m:r>
                      </m:sup>
                    </m:sSubSup>
                  </m:oMath>
                </a14:m>
                <a:r>
                  <a:rPr lang="en-US" dirty="0" smtClean="0"/>
                  <a:t> to remove the wildcards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en-US" dirty="0" smtClean="0"/>
                  <a:t>The entries are converted into binary and split into each packet header field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charset="0"/>
                          </a:rPr>
                          <m:t>𝑒</m:t>
                        </m:r>
                      </m:e>
                      <m:sub>
                        <m:r>
                          <a:rPr lang="en-US" b="0" i="1" smtClean="0">
                            <a:latin typeface="Cambria Math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charset="0"/>
                          </a:rPr>
                          <m:t>𝑗</m:t>
                        </m:r>
                      </m:sub>
                      <m:sup>
                        <m:r>
                          <a:rPr lang="en-US" b="0" i="1" smtClean="0">
                            <a:latin typeface="Cambria Math" charset="0"/>
                          </a:rPr>
                          <m:t>𝑖</m:t>
                        </m:r>
                      </m:sup>
                    </m:sSubSup>
                  </m:oMath>
                </a14:m>
                <a:r>
                  <a:rPr lang="en-US" dirty="0" smtClean="0"/>
                  <a:t> and inserted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charset="0"/>
                          </a:rPr>
                          <m:t>𝑅</m:t>
                        </m:r>
                      </m:e>
                      <m:sub>
                        <m:r>
                          <a:rPr lang="en-US" b="0" i="1" smtClean="0">
                            <a:latin typeface="Cambria Math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 smtClean="0"/>
                  <a:t> matrix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582739"/>
                <a:ext cx="6935788" cy="1495312"/>
              </a:xfrm>
              <a:blipFill rotWithShape="0">
                <a:blip r:embed="rId2"/>
                <a:stretch>
                  <a:fillRect l="-2111" t="-4898" b="-204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930" t="8647" r="2149" b="5426"/>
          <a:stretch/>
        </p:blipFill>
        <p:spPr>
          <a:xfrm>
            <a:off x="2092806" y="3072427"/>
            <a:ext cx="5628067" cy="142955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2"/>
              <p:cNvSpPr txBox="1">
                <a:spLocks/>
              </p:cNvSpPr>
              <p:nvPr/>
            </p:nvSpPr>
            <p:spPr>
              <a:xfrm>
                <a:off x="1619250" y="4501982"/>
                <a:ext cx="6935788" cy="1370784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55600" indent="-3556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23900" indent="-3683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76325" indent="-352425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35113" indent="-4572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>
                  <a:buFont typeface="Arial" charset="0"/>
                  <a:buChar char="•"/>
                </a:pPr>
                <a:r>
                  <a:rPr lang="en-US" dirty="0" smtClean="0"/>
                  <a:t>Matrix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charset="0"/>
                          </a:rPr>
                          <m:t>𝑅</m:t>
                        </m:r>
                      </m:e>
                      <m:sub>
                        <m:r>
                          <a:rPr lang="en-US" i="1">
                            <a:latin typeface="Cambria Math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 smtClean="0"/>
                  <a:t> is inserted into the the rule aggregation algorithm and results in aggregated rules matrix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charset="0"/>
                          </a:rPr>
                          <m:t>𝑅</m:t>
                        </m:r>
                      </m:e>
                      <m:sub>
                        <m:r>
                          <a:rPr lang="en-US" b="0" i="1" smtClean="0">
                            <a:latin typeface="Cambria Math" charset="0"/>
                          </a:rPr>
                          <m:t>𝑖</m:t>
                        </m:r>
                      </m:sub>
                      <m:sup>
                        <m:r>
                          <a:rPr lang="en-US" b="0" i="1" smtClean="0">
                            <a:latin typeface="Cambria Math" charset="0"/>
                          </a:rPr>
                          <m:t>′</m:t>
                        </m:r>
                      </m:sup>
                    </m:sSubSup>
                  </m:oMath>
                </a14:m>
                <a:endParaRPr lang="en-US" dirty="0" smtClean="0"/>
              </a:p>
            </p:txBody>
          </p:sp>
        </mc:Choice>
        <mc:Fallback xmlns="">
          <p:sp>
            <p:nvSpPr>
              <p:cNvPr id="5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250" y="4501982"/>
                <a:ext cx="6935788" cy="1370784"/>
              </a:xfrm>
              <a:prstGeom prst="rect">
                <a:avLst/>
              </a:prstGeom>
              <a:blipFill rotWithShape="0">
                <a:blip r:embed="rId4"/>
                <a:stretch>
                  <a:fillRect l="-2111" t="-5357" r="-29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22988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le Aggregation (Cont.)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4551" y="1422606"/>
            <a:ext cx="6764896" cy="410510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66405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le Aggregation (Cont.)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0992956"/>
              </p:ext>
            </p:extLst>
          </p:nvPr>
        </p:nvGraphicFramePr>
        <p:xfrm>
          <a:off x="279847" y="1241492"/>
          <a:ext cx="3150871" cy="21810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21055"/>
                <a:gridCol w="1000443"/>
                <a:gridCol w="716280"/>
                <a:gridCol w="613093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Fields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Value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Binary*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Size</a:t>
                      </a:r>
                      <a:endParaRPr lang="en-US" sz="105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SRC </a:t>
                      </a:r>
                      <a:r>
                        <a:rPr lang="en-US" sz="1050" dirty="0" err="1" smtClean="0"/>
                        <a:t>Addr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50" u="none" strike="noStrike" kern="1200" baseline="0" dirty="0" smtClean="0"/>
                        <a:t>172.205.10.1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</a:t>
                      </a:r>
                      <a:r>
                        <a:rPr lang="en-US" sz="1050" u="none" strike="noStrike" kern="1200" baseline="0" dirty="0" smtClean="0"/>
                        <a:t>0,0,0,1</a:t>
                      </a:r>
                      <a:r>
                        <a:rPr lang="en-US" sz="1050" dirty="0" smtClean="0"/>
                        <a:t>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32 bits</a:t>
                      </a:r>
                      <a:endParaRPr lang="en-US" sz="105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DST </a:t>
                      </a:r>
                      <a:r>
                        <a:rPr lang="en-US" sz="1050" dirty="0" err="1" smtClean="0"/>
                        <a:t>Addr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sz="1050" u="none" strike="noStrike" kern="1200" baseline="0" dirty="0" smtClean="0"/>
                        <a:t>245.206.13.2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</a:t>
                      </a:r>
                      <a:r>
                        <a:rPr lang="en-US" sz="1050" u="none" strike="noStrike" kern="1200" baseline="0" dirty="0" smtClean="0"/>
                        <a:t>0,0,1,0</a:t>
                      </a:r>
                      <a:r>
                        <a:rPr lang="en-US" sz="1050" dirty="0" smtClean="0"/>
                        <a:t>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/>
                        <a:t>32 bits</a:t>
                      </a:r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SRC Port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80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0,0,0,0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/>
                        <a:t>16 bits</a:t>
                      </a:r>
                    </a:p>
                  </a:txBody>
                  <a:tcPr/>
                </a:tc>
              </a:tr>
              <a:tr h="8928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DST</a:t>
                      </a:r>
                      <a:r>
                        <a:rPr lang="en-US" sz="1050" baseline="0" dirty="0" smtClean="0"/>
                        <a:t> Port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20-24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0,1,0,0}</a:t>
                      </a:r>
                    </a:p>
                    <a:p>
                      <a:pPr algn="ctr"/>
                      <a:r>
                        <a:rPr lang="en-US" sz="1050" dirty="0" smtClean="0"/>
                        <a:t>{0,1,0,1}</a:t>
                      </a:r>
                    </a:p>
                    <a:p>
                      <a:pPr algn="ctr"/>
                      <a:r>
                        <a:rPr lang="en-US" sz="1050" dirty="0" smtClean="0"/>
                        <a:t>{0,1,1,0}</a:t>
                      </a:r>
                    </a:p>
                    <a:p>
                      <a:pPr algn="ctr"/>
                      <a:r>
                        <a:rPr lang="en-US" sz="1050" dirty="0" smtClean="0"/>
                        <a:t>{0,1,1,1}</a:t>
                      </a:r>
                    </a:p>
                    <a:p>
                      <a:pPr algn="ctr"/>
                      <a:r>
                        <a:rPr lang="en-US" sz="1050" dirty="0" smtClean="0"/>
                        <a:t>{1,0,0,0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16 bits</a:t>
                      </a:r>
                      <a:endParaRPr lang="en-US" sz="105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Protocol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TCP (6)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0,1,1,0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8 bits</a:t>
                      </a:r>
                      <a:endParaRPr lang="en-US" sz="105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9395" y="1800971"/>
            <a:ext cx="5477894" cy="11420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291555" y="3706746"/>
                <a:ext cx="2198038" cy="7277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charset="0"/>
                        </a:rPr>
                        <m:t>𝑗</m:t>
                      </m:r>
                      <m:r>
                        <a:rPr lang="en-US" b="0" i="1" smtClean="0">
                          <a:latin typeface="Cambria Math" charset="0"/>
                        </a:rPr>
                        <m:t>=5</m:t>
                      </m:r>
                      <m:groupChr>
                        <m:groupChrPr>
                          <m:chr m:val="⇒"/>
                          <m:pos m:val="top"/>
                          <m:ctrlPr>
                            <a:rPr lang="en-US" b="0" i="1" smtClean="0">
                              <a:latin typeface="Cambria Math" charset="0"/>
                            </a:rPr>
                          </m:ctrlPr>
                        </m:groupChrPr>
                        <m:e/>
                      </m:groupChr>
                      <m:d>
                        <m:dPr>
                          <m:begChr m:val="⌊"/>
                          <m:endChr m:val="⌋"/>
                          <m:ctrlPr>
                            <a:rPr lang="en-US" b="0" i="1" smtClean="0">
                              <a:latin typeface="Cambria Math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charset="0"/>
                                </a:rPr>
                                <m:t>𝑙𝑜𝑔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charset="0"/>
                            </a:rPr>
                            <m:t>5</m:t>
                          </m:r>
                        </m:e>
                      </m:d>
                      <m:r>
                        <a:rPr lang="en-US" b="0" i="1" smtClean="0">
                          <a:latin typeface="Cambria Math" charset="0"/>
                        </a:rPr>
                        <m:t>=2</m:t>
                      </m:r>
                    </m:oMath>
                  </m:oMathPara>
                </a14:m>
                <a:endParaRPr lang="en-US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charset="0"/>
                        </a:rPr>
                        <m:t>𝑎</m:t>
                      </m:r>
                      <m:r>
                        <a:rPr lang="en-US" b="0" i="1" smtClean="0">
                          <a:latin typeface="Cambria Math" charset="0"/>
                        </a:rPr>
                        <m:t>={1,2}</m:t>
                      </m:r>
                    </m:oMath>
                  </m:oMathPara>
                </a14:m>
                <a:endParaRPr lang="en-US" dirty="0" smtClean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555" y="3706746"/>
                <a:ext cx="2198038" cy="727763"/>
              </a:xfrm>
              <a:prstGeom prst="rect">
                <a:avLst/>
              </a:prstGeom>
              <a:blipFill rotWithShape="0">
                <a:blip r:embed="rId4"/>
                <a:stretch>
                  <a:fillRect t="-23529" b="-92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6505" y="3132201"/>
            <a:ext cx="3509582" cy="16122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02979" y="4933722"/>
            <a:ext cx="5350725" cy="552571"/>
          </a:xfrm>
          <a:prstGeom prst="rect">
            <a:avLst/>
          </a:prstGeom>
        </p:spPr>
      </p:pic>
      <p:cxnSp>
        <p:nvCxnSpPr>
          <p:cNvPr id="25" name="Straight Arrow Connector 24"/>
          <p:cNvCxnSpPr/>
          <p:nvPr/>
        </p:nvCxnSpPr>
        <p:spPr>
          <a:xfrm>
            <a:off x="7463197" y="2942972"/>
            <a:ext cx="0" cy="1990750"/>
          </a:xfrm>
          <a:prstGeom prst="straightConnector1">
            <a:avLst/>
          </a:prstGeom>
          <a:ln w="730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387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Introduction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Background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Problem Statement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Platforms Overview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Development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5-Tuple LCAF &amp; Mapping System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Rule Aggregation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Flow Classification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Result &amp; Analysis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Conclusion and Future Works</a:t>
            </a:r>
          </a:p>
        </p:txBody>
      </p:sp>
    </p:spTree>
    <p:extLst>
      <p:ext uri="{BB962C8B-B14F-4D97-AF65-F5344CB8AC3E}">
        <p14:creationId xmlns:p14="http://schemas.microsoft.com/office/powerpoint/2010/main" val="2087796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le Aggregation (Cont.)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79847" y="1241492"/>
          <a:ext cx="3150871" cy="21810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21055"/>
                <a:gridCol w="1000443"/>
                <a:gridCol w="716280"/>
                <a:gridCol w="613093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Fields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Value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Binary*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Size</a:t>
                      </a:r>
                      <a:endParaRPr lang="en-US" sz="105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SRC </a:t>
                      </a:r>
                      <a:r>
                        <a:rPr lang="en-US" sz="1050" dirty="0" err="1" smtClean="0"/>
                        <a:t>Addr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50" u="none" strike="noStrike" kern="1200" baseline="0" dirty="0" smtClean="0"/>
                        <a:t>172.205.10.1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</a:t>
                      </a:r>
                      <a:r>
                        <a:rPr lang="en-US" sz="1050" u="none" strike="noStrike" kern="1200" baseline="0" dirty="0" smtClean="0"/>
                        <a:t>0,0,0,1</a:t>
                      </a:r>
                      <a:r>
                        <a:rPr lang="en-US" sz="1050" dirty="0" smtClean="0"/>
                        <a:t>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32 bits</a:t>
                      </a:r>
                      <a:endParaRPr lang="en-US" sz="105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DST </a:t>
                      </a:r>
                      <a:r>
                        <a:rPr lang="en-US" sz="1050" dirty="0" err="1" smtClean="0"/>
                        <a:t>Addr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sz="1050" u="none" strike="noStrike" kern="1200" baseline="0" dirty="0" smtClean="0"/>
                        <a:t>245.206.13.2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</a:t>
                      </a:r>
                      <a:r>
                        <a:rPr lang="en-US" sz="1050" u="none" strike="noStrike" kern="1200" baseline="0" dirty="0" smtClean="0"/>
                        <a:t>0,0,1,0</a:t>
                      </a:r>
                      <a:r>
                        <a:rPr lang="en-US" sz="1050" dirty="0" smtClean="0"/>
                        <a:t>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/>
                        <a:t>32 bits</a:t>
                      </a:r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SRC Port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80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0,0,0,0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/>
                        <a:t>16 bits</a:t>
                      </a:r>
                    </a:p>
                  </a:txBody>
                  <a:tcPr/>
                </a:tc>
              </a:tr>
              <a:tr h="8928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DST</a:t>
                      </a:r>
                      <a:r>
                        <a:rPr lang="en-US" sz="1050" baseline="0" dirty="0" smtClean="0"/>
                        <a:t> Port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20-24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0,1,0,0}</a:t>
                      </a:r>
                    </a:p>
                    <a:p>
                      <a:pPr algn="ctr"/>
                      <a:r>
                        <a:rPr lang="en-US" sz="1050" dirty="0" smtClean="0"/>
                        <a:t>{0,1,0,1}</a:t>
                      </a:r>
                    </a:p>
                    <a:p>
                      <a:pPr algn="ctr"/>
                      <a:r>
                        <a:rPr lang="en-US" sz="1050" dirty="0" smtClean="0"/>
                        <a:t>{0,1,1,0}</a:t>
                      </a:r>
                    </a:p>
                    <a:p>
                      <a:pPr algn="ctr"/>
                      <a:r>
                        <a:rPr lang="en-US" sz="1050" dirty="0" smtClean="0"/>
                        <a:t>{0,1,1,1}</a:t>
                      </a:r>
                    </a:p>
                    <a:p>
                      <a:pPr algn="ctr"/>
                      <a:r>
                        <a:rPr lang="en-US" sz="1050" dirty="0" smtClean="0"/>
                        <a:t>{1,0,0,0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16 bits</a:t>
                      </a:r>
                      <a:endParaRPr lang="en-US" sz="105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Protocol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TCP (6)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{0,1,1,0}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8 bits</a:t>
                      </a:r>
                      <a:endParaRPr lang="en-US" sz="105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9395" y="1800971"/>
            <a:ext cx="5477894" cy="11420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2979" y="4933722"/>
            <a:ext cx="5350725" cy="552571"/>
          </a:xfrm>
          <a:prstGeom prst="rect">
            <a:avLst/>
          </a:prstGeom>
        </p:spPr>
      </p:pic>
      <p:cxnSp>
        <p:nvCxnSpPr>
          <p:cNvPr id="25" name="Straight Arrow Connector 24"/>
          <p:cNvCxnSpPr/>
          <p:nvPr/>
        </p:nvCxnSpPr>
        <p:spPr>
          <a:xfrm>
            <a:off x="7463197" y="2942972"/>
            <a:ext cx="0" cy="1990750"/>
          </a:xfrm>
          <a:prstGeom prst="straightConnector1">
            <a:avLst/>
          </a:prstGeom>
          <a:ln w="730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7277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Classif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1481737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Goal: reduce the lookup times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Similar to Tuple Space Search method, but based on specific bit position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Process: Offline and Online Stag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129" y="3064476"/>
            <a:ext cx="4349578" cy="1761716"/>
          </a:xfrm>
          <a:prstGeom prst="rect">
            <a:avLst/>
          </a:prstGeom>
        </p:spPr>
      </p:pic>
      <p:sp>
        <p:nvSpPr>
          <p:cNvPr id="24" name="Content Placeholder 2"/>
          <p:cNvSpPr txBox="1">
            <a:spLocks/>
          </p:cNvSpPr>
          <p:nvPr/>
        </p:nvSpPr>
        <p:spPr>
          <a:xfrm>
            <a:off x="1619250" y="4826193"/>
            <a:ext cx="6935788" cy="10556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charset="0"/>
              <a:buChar char="•"/>
            </a:pPr>
            <a:r>
              <a:rPr lang="en-US" dirty="0" smtClean="0"/>
              <a:t>Pre-filtering: select one or more bit positions to split the rules into smaller multiple lookup tables as even as possible</a:t>
            </a:r>
            <a:endParaRPr lang="en-US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6753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4" grpId="0"/>
      <p:bldP spid="2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Classification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Bit positions selected for the pre-filtering </a:t>
            </a:r>
            <a:r>
              <a:rPr lang="en-US" dirty="0" smtClean="0">
                <a:sym typeface="Wingdings"/>
              </a:rPr>
              <a:t> Effective Bit Position (EBP)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To determine EBP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Diversity Index: to find most even distribution of </a:t>
            </a:r>
            <a:r>
              <a:rPr lang="en-US" dirty="0" err="1" smtClean="0">
                <a:sym typeface="Wingdings"/>
              </a:rPr>
              <a:t>zeros</a:t>
            </a:r>
            <a:r>
              <a:rPr lang="en-US" dirty="0" smtClean="0">
                <a:sym typeface="Wingdings"/>
              </a:rPr>
              <a:t> and ones</a:t>
            </a:r>
          </a:p>
          <a:p>
            <a:pPr lvl="1" indent="0">
              <a:buNone/>
            </a:pPr>
            <a:endParaRPr lang="en-US" dirty="0" smtClean="0">
              <a:sym typeface="Wingdings"/>
            </a:endParaRPr>
          </a:p>
          <a:p>
            <a:pPr lvl="1" indent="0">
              <a:buNone/>
            </a:pPr>
            <a:endParaRPr lang="en-US" dirty="0" smtClean="0">
              <a:sym typeface="Wingdings"/>
            </a:endParaRP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Independence Index (for &gt;1 EBP): to find bit positions that draws good distinction between entrie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8266" y="2930440"/>
            <a:ext cx="2208770" cy="10880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3338" y="4663464"/>
            <a:ext cx="4486511" cy="1270791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3319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w Classification (Cont.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582739"/>
                <a:ext cx="6935788" cy="2729769"/>
              </a:xfrm>
            </p:spPr>
            <p:txBody>
              <a:bodyPr/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en-US" dirty="0" smtClean="0"/>
                  <a:t>Best case scenario: High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charset="0"/>
                      </a:rPr>
                      <m:t>𝐻</m:t>
                    </m:r>
                    <m:d>
                      <m:dPr>
                        <m:ctrlPr>
                          <a:rPr lang="en-US" b="0" i="1" smtClean="0">
                            <a:latin typeface="Cambria Math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charset="0"/>
                          </a:rPr>
                          <m:t>𝑞</m:t>
                        </m:r>
                      </m:e>
                    </m:d>
                  </m:oMath>
                </a14:m>
                <a:r>
                  <a:rPr lang="en-US" dirty="0" smtClean="0"/>
                  <a:t> and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charset="0"/>
                      </a:rPr>
                      <m:t>𝐼𝑛𝑑</m:t>
                    </m:r>
                    <m:d>
                      <m:dPr>
                        <m:ctrlPr>
                          <a:rPr lang="en-US" b="0" i="1" smtClean="0">
                            <a:latin typeface="Cambria Math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charset="0"/>
                          </a:rPr>
                          <m:t>𝑞</m:t>
                        </m:r>
                      </m:e>
                    </m:d>
                  </m:oMath>
                </a14:m>
                <a:endParaRPr lang="en-US" b="0" dirty="0" smtClean="0"/>
              </a:p>
              <a:p>
                <a:pPr marL="342900" indent="-342900">
                  <a:buFont typeface="Arial" charset="0"/>
                  <a:buChar char="•"/>
                </a:pPr>
                <a:r>
                  <a:rPr lang="en-US" dirty="0" smtClean="0"/>
                  <a:t>EBP has to be updated periodically, especially if there’s many rules addition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en-US" dirty="0" smtClean="0"/>
                  <a:t>In the beginning, when there’s no rules (day 0): select EBP at random</a:t>
                </a: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582739"/>
                <a:ext cx="6935788" cy="2729769"/>
              </a:xfrm>
              <a:blipFill rotWithShape="0">
                <a:blip r:embed="rId2"/>
                <a:stretch>
                  <a:fillRect l="-2111" t="-2685" r="-32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7665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Classification (Cont.)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Table 4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7140292"/>
                  </p:ext>
                </p:extLst>
              </p:nvPr>
            </p:nvGraphicFramePr>
            <p:xfrm>
              <a:off x="2307906" y="1248719"/>
              <a:ext cx="5558475" cy="1555200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694055"/>
                    <a:gridCol w="882968"/>
                    <a:gridCol w="867093"/>
                    <a:gridCol w="835343"/>
                    <a:gridCol w="819468"/>
                    <a:gridCol w="787718"/>
                    <a:gridCol w="671830"/>
                  </a:tblGrid>
                  <a:tr h="259200"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Entries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Protocol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1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1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3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0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4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10001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5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0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3</a:t>
                          </a:r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Table 4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7140292"/>
                  </p:ext>
                </p:extLst>
              </p:nvPr>
            </p:nvGraphicFramePr>
            <p:xfrm>
              <a:off x="2307906" y="1248719"/>
              <a:ext cx="5558475" cy="1555200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694055"/>
                    <a:gridCol w="882968"/>
                    <a:gridCol w="867093"/>
                    <a:gridCol w="835343"/>
                    <a:gridCol w="819468"/>
                    <a:gridCol w="787718"/>
                    <a:gridCol w="671830"/>
                  </a:tblGrid>
                  <a:tr h="259200"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Entries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Protocol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877" t="-104762" r="-704386" b="-42142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1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877" t="-200000" r="-704386" b="-3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1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877" t="-300000" r="-704386" b="-2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0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877" t="-409524" r="-704386" b="-11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10001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877" t="-497674" r="-704386" b="-1395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0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3</a:t>
                          </a:r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694" y="2979429"/>
            <a:ext cx="5502135" cy="285295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561438" y="4221242"/>
            <a:ext cx="1514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Offline Stag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1291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Classification (Cont.)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Table 4"/>
              <p:cNvGraphicFramePr>
                <a:graphicFrameLocks noGrp="1"/>
              </p:cNvGraphicFramePr>
              <p:nvPr/>
            </p:nvGraphicFramePr>
            <p:xfrm>
              <a:off x="2307906" y="1248719"/>
              <a:ext cx="5558475" cy="1555200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694055"/>
                    <a:gridCol w="882968"/>
                    <a:gridCol w="867093"/>
                    <a:gridCol w="835343"/>
                    <a:gridCol w="819468"/>
                    <a:gridCol w="787718"/>
                    <a:gridCol w="671830"/>
                  </a:tblGrid>
                  <a:tr h="259200"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Entries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Protocol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1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1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3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0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4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10001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10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100" smtClean="0">
                                        <a:latin typeface="Cambria Math" charset="0"/>
                                      </a:rPr>
                                      <m:t>5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0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3</a:t>
                          </a:r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Table 4"/>
              <p:cNvGraphicFramePr>
                <a:graphicFrameLocks noGrp="1"/>
              </p:cNvGraphicFramePr>
              <p:nvPr/>
            </p:nvGraphicFramePr>
            <p:xfrm>
              <a:off x="2307906" y="1248719"/>
              <a:ext cx="5558475" cy="1555200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694055"/>
                    <a:gridCol w="882968"/>
                    <a:gridCol w="867093"/>
                    <a:gridCol w="835343"/>
                    <a:gridCol w="819468"/>
                    <a:gridCol w="787718"/>
                    <a:gridCol w="671830"/>
                  </a:tblGrid>
                  <a:tr h="259200"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Entries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</a:t>
                          </a:r>
                          <a:r>
                            <a:rPr lang="en-US" sz="1100" dirty="0" err="1" smtClean="0"/>
                            <a:t>Addr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SRC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DST Port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Protocol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2"/>
                          <a:stretch>
                            <a:fillRect l="-877" t="-104762" r="-704386" b="-42142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action1</a:t>
                          </a:r>
                          <a:endParaRPr lang="en-US" sz="1100" dirty="0"/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2"/>
                          <a:stretch>
                            <a:fillRect l="-877" t="-200000" r="-704386" b="-3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1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2"/>
                          <a:stretch>
                            <a:fillRect l="-877" t="-300000" r="-704386" b="-2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00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2"/>
                          <a:stretch>
                            <a:fillRect l="-877" t="-409524" r="-704386" b="-11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10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10001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2</a:t>
                          </a:r>
                        </a:p>
                      </a:txBody>
                      <a:tcPr/>
                    </a:tc>
                  </a:tr>
                  <a:tr h="259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2"/>
                          <a:stretch>
                            <a:fillRect l="-877" t="-497674" r="-704386" b="-1395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111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0000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101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100" dirty="0" smtClean="0"/>
                            <a:t>*****</a:t>
                          </a:r>
                          <a:endParaRPr lang="en-US" sz="11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100" dirty="0" smtClean="0"/>
                            <a:t>action3</a:t>
                          </a:r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sp>
        <p:nvSpPr>
          <p:cNvPr id="9" name="TextBox 8"/>
          <p:cNvSpPr txBox="1"/>
          <p:nvPr/>
        </p:nvSpPr>
        <p:spPr>
          <a:xfrm>
            <a:off x="6561438" y="4221242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nline Stag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712" y="2979430"/>
            <a:ext cx="5589373" cy="2790021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5210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in VPP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201" y="1827082"/>
            <a:ext cx="8149837" cy="377052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11911" y="1407582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mtClean="0"/>
              <a:t>Offline Stage</a:t>
            </a:r>
            <a:endParaRPr lang="en-US" b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454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in </a:t>
            </a:r>
            <a:r>
              <a:rPr lang="en-US" dirty="0" smtClean="0"/>
              <a:t>VPP (Cont.)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311911" y="1407582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Online Stage</a:t>
            </a:r>
            <a:endParaRPr lang="en-US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686" y="1902599"/>
            <a:ext cx="7536416" cy="3398450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6031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893427"/>
            <a:ext cx="6935788" cy="668338"/>
          </a:xfrm>
        </p:spPr>
        <p:txBody>
          <a:bodyPr/>
          <a:lstStyle/>
          <a:p>
            <a:r>
              <a:rPr lang="en-US" sz="4800" dirty="0" smtClean="0"/>
              <a:t>Results &amp; Analysis</a:t>
            </a: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39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ulation and Testing Set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854022"/>
            <a:ext cx="6935788" cy="1172036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smtClean="0"/>
              <a:t>Testbed</a:t>
            </a:r>
            <a:r>
              <a:rPr lang="en-US" dirty="0" smtClean="0"/>
              <a:t> using VMs to implement OOR and VPP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Synthetic rules generator: </a:t>
            </a:r>
            <a:r>
              <a:rPr lang="en-US" dirty="0" err="1" smtClean="0"/>
              <a:t>Classbench</a:t>
            </a:r>
            <a:endParaRPr lang="en-US" dirty="0" smtClean="0"/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Packet generation: hping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9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1512" y="3127248"/>
            <a:ext cx="2490216" cy="2637487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675551"/>
              </p:ext>
            </p:extLst>
          </p:nvPr>
        </p:nvGraphicFramePr>
        <p:xfrm>
          <a:off x="5087144" y="3262376"/>
          <a:ext cx="3086735" cy="1630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79830"/>
                <a:gridCol w="1906905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am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unction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VM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VPP and </a:t>
                      </a:r>
                      <a:r>
                        <a:rPr lang="en-US" sz="1400" dirty="0" err="1" smtClean="0"/>
                        <a:t>Classbench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VM2 &amp; VM3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xTR</a:t>
                      </a:r>
                      <a:r>
                        <a:rPr lang="en-US" sz="1400" dirty="0" smtClean="0"/>
                        <a:t> and hping3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VM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S and hping3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1539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893427"/>
            <a:ext cx="6935788" cy="668338"/>
          </a:xfrm>
        </p:spPr>
        <p:txBody>
          <a:bodyPr/>
          <a:lstStyle/>
          <a:p>
            <a:r>
              <a:rPr lang="en-US" sz="4800" dirty="0" smtClean="0"/>
              <a:t>Introduction</a:t>
            </a: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150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: Rule Aggreg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52727" y="4169591"/>
            <a:ext cx="7799833" cy="2638952"/>
          </a:xfrm>
        </p:spPr>
        <p:txBody>
          <a:bodyPr>
            <a:norm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Number of stored entries can be reduced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Minimum achievable aggregation: 41.4%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Higher number of original rules lead to more aggreg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0</a:t>
            </a:fld>
            <a:endParaRPr lang="sv-SE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875640"/>
              </p:ext>
            </p:extLst>
          </p:nvPr>
        </p:nvGraphicFramePr>
        <p:xfrm>
          <a:off x="5946577" y="1843799"/>
          <a:ext cx="2315528" cy="1555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46443"/>
                <a:gridCol w="998855"/>
                <a:gridCol w="570230"/>
              </a:tblGrid>
              <a:tr h="25920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Original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ggregated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%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60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419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94.5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864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657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76.0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3157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635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51.8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r>
                        <a:rPr lang="is-IS" sz="1100" dirty="0" smtClean="0"/>
                        <a:t>7452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s-IS" sz="1100" dirty="0" smtClean="0"/>
                        <a:t>3132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42.02</a:t>
                      </a:r>
                      <a:endParaRPr lang="en-US" sz="1100" dirty="0"/>
                    </a:p>
                  </a:txBody>
                  <a:tcPr/>
                </a:tc>
              </a:tr>
              <a:tr h="259200">
                <a:tc>
                  <a:txBody>
                    <a:bodyPr/>
                    <a:lstStyle/>
                    <a:p>
                      <a:r>
                        <a:rPr lang="cs-CZ" sz="1100" dirty="0" smtClean="0"/>
                        <a:t>8481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s-IS" sz="1100" dirty="0" smtClean="0"/>
                        <a:t>3536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41.7</a:t>
                      </a:r>
                      <a:endParaRPr lang="en-US" sz="11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30" name="Group 29"/>
          <p:cNvGrpSpPr/>
          <p:nvPr/>
        </p:nvGrpSpPr>
        <p:grpSpPr>
          <a:xfrm>
            <a:off x="190404" y="1411536"/>
            <a:ext cx="5396510" cy="2587368"/>
            <a:chOff x="190404" y="1731576"/>
            <a:chExt cx="5396510" cy="258736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404" y="1731576"/>
              <a:ext cx="5396510" cy="2587368"/>
            </a:xfrm>
            <a:prstGeom prst="rect">
              <a:avLst/>
            </a:prstGeom>
          </p:spPr>
        </p:pic>
        <p:cxnSp>
          <p:nvCxnSpPr>
            <p:cNvPr id="7" name="Straight Connector 6"/>
            <p:cNvCxnSpPr/>
            <p:nvPr/>
          </p:nvCxnSpPr>
          <p:spPr>
            <a:xfrm flipV="1">
              <a:off x="3818238" y="2596897"/>
              <a:ext cx="0" cy="1512477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850391" y="2596896"/>
              <a:ext cx="2967847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V="1">
              <a:off x="3458574" y="2749296"/>
              <a:ext cx="0" cy="1360078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850391" y="2767584"/>
              <a:ext cx="2608183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V="1">
              <a:off x="1992486" y="3429335"/>
              <a:ext cx="0" cy="698327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H="1">
              <a:off x="850391" y="3395807"/>
              <a:ext cx="1142096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91363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: Flow Classif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4133087"/>
            <a:ext cx="6935788" cy="1527937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Lookup times can be reduced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After 76 entries, the performance of proposed method surpassed the basic method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Maximum achievable reduction: 29.6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1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4679" y="1274473"/>
            <a:ext cx="6389120" cy="2657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49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893427"/>
            <a:ext cx="6935788" cy="668338"/>
          </a:xfrm>
        </p:spPr>
        <p:txBody>
          <a:bodyPr/>
          <a:lstStyle/>
          <a:p>
            <a:r>
              <a:rPr lang="en-US" sz="4800" dirty="0" smtClean="0"/>
              <a:t>Conclusions</a:t>
            </a: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47528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SDN provides flexibility and programmability, </a:t>
            </a:r>
            <a:r>
              <a:rPr lang="en-US" dirty="0" smtClean="0"/>
              <a:t>but </a:t>
            </a:r>
            <a:r>
              <a:rPr lang="en-US" dirty="0" smtClean="0"/>
              <a:t>it comes with scalability problem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Implementation of proposed 5-tuple rule aggregation and flow classification are able to reduc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Number of entries stored </a:t>
            </a:r>
            <a:r>
              <a:rPr lang="en-US" dirty="0" smtClean="0">
                <a:sym typeface="Wingdings"/>
              </a:rPr>
              <a:t> less storage space requirement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Lookup times </a:t>
            </a:r>
            <a:r>
              <a:rPr lang="en-US" dirty="0" smtClean="0">
                <a:sym typeface="Wingdings"/>
              </a:rPr>
              <a:t> lower processing latency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In the testing phase, we found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58.6% savings in storage space requirement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29.6% reduction in processing latency</a:t>
            </a:r>
          </a:p>
          <a:p>
            <a:pPr marL="698500" lvl="1" indent="-342900">
              <a:buFont typeface="Arial" charset="0"/>
              <a:buChar char="•"/>
            </a:pPr>
            <a:endParaRPr lang="en-US" dirty="0">
              <a:sym typeface="Wingding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537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Wor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Extend the proposed rule aggregation 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/>
              <a:t>T</a:t>
            </a:r>
            <a:r>
              <a:rPr lang="en-US" dirty="0" smtClean="0"/>
              <a:t>o check for overlapping rul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To find faster way for calculation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Extend the flow classification method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Calculate and Update EBP in real time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Other method to determine EBP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To check the effectiveness of the proposed methods in the real and big network</a:t>
            </a:r>
          </a:p>
          <a:p>
            <a:pPr marL="342900" indent="-34290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4830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8466" y="2881853"/>
            <a:ext cx="6935788" cy="668338"/>
          </a:xfrm>
        </p:spPr>
        <p:txBody>
          <a:bodyPr/>
          <a:lstStyle/>
          <a:p>
            <a:pPr algn="ctr"/>
            <a:r>
              <a:rPr lang="en-US" sz="4800" dirty="0" smtClean="0"/>
              <a:t>Thank You!</a:t>
            </a: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9672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157469"/>
            <a:ext cx="6935788" cy="4537276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Traditional networking: destination-based forwarding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Only consider single header field </a:t>
            </a:r>
            <a:r>
              <a:rPr lang="en-US" dirty="0" smtClean="0">
                <a:sym typeface="Wingdings"/>
              </a:rPr>
              <a:t> scalable but not flexible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No global view of the network </a:t>
            </a:r>
            <a:r>
              <a:rPr lang="en-US" dirty="0" smtClean="0">
                <a:sym typeface="Wingdings"/>
              </a:rPr>
              <a:t> programmability problem for complex TE rules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Software-Defined Networking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Flexible  up to 38 packet header fields can be observed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Has global view of the network  centralized control plane  easy to program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>
                <a:sym typeface="Wingdings"/>
              </a:rPr>
              <a:t>Problem: </a:t>
            </a:r>
            <a:r>
              <a:rPr lang="en-US" dirty="0" smtClean="0">
                <a:sym typeface="Wingdings"/>
              </a:rPr>
              <a:t>requirement for more specific traffic engineering rules  rule </a:t>
            </a:r>
            <a:r>
              <a:rPr lang="en-US" dirty="0">
                <a:sym typeface="Wingdings"/>
              </a:rPr>
              <a:t>size </a:t>
            </a:r>
            <a:r>
              <a:rPr lang="en-US" dirty="0" smtClean="0">
                <a:sym typeface="Wingdings"/>
              </a:rPr>
              <a:t>increas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processing </a:t>
            </a:r>
            <a:r>
              <a:rPr lang="en-US" dirty="0">
                <a:sym typeface="Wingdings"/>
              </a:rPr>
              <a:t>latency </a:t>
            </a:r>
            <a:r>
              <a:rPr lang="en-US" dirty="0" smtClean="0">
                <a:sym typeface="Wingdings"/>
              </a:rPr>
              <a:t>increas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storage </a:t>
            </a:r>
            <a:r>
              <a:rPr lang="en-US" dirty="0">
                <a:sym typeface="Wingdings"/>
              </a:rPr>
              <a:t>space </a:t>
            </a:r>
            <a:r>
              <a:rPr lang="en-US" dirty="0" smtClean="0">
                <a:sym typeface="Wingdings"/>
              </a:rPr>
              <a:t>requirement also increases</a:t>
            </a:r>
            <a:endParaRPr lang="en-US" dirty="0">
              <a:sym typeface="Wingding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630438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: Flow Classif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4133087"/>
            <a:ext cx="6935788" cy="1527937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Number of entries to be checked can be minimized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In average only 56.9% of entries that needs to be checked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Reason: multiple lookup t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7</a:t>
            </a:fld>
            <a:endParaRPr lang="sv-S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296" y="1461516"/>
            <a:ext cx="6279802" cy="2552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28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31359211"/>
              </p:ext>
            </p:extLst>
          </p:nvPr>
        </p:nvGraphicFramePr>
        <p:xfrm>
          <a:off x="821081" y="1827043"/>
          <a:ext cx="2710307" cy="194253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10307"/>
              </a:tblGrid>
              <a:tr h="66237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raditional Networking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estination-based Forwarding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o global view, multiple control plan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619250" y="4079985"/>
            <a:ext cx="6935788" cy="19714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Problems: Number of rules increases and rule size increas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processing latency increase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storage space requirement also increases</a:t>
            </a:r>
            <a:endParaRPr lang="en-US" dirty="0">
              <a:sym typeface="Wingdings"/>
            </a:endParaRPr>
          </a:p>
        </p:txBody>
      </p:sp>
      <p:graphicFrame>
        <p:nvGraphicFramePr>
          <p:cNvPr id="12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7385948"/>
              </p:ext>
            </p:extLst>
          </p:nvPr>
        </p:nvGraphicFramePr>
        <p:xfrm>
          <a:off x="5462092" y="1837764"/>
          <a:ext cx="2710307" cy="19202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10307"/>
              </a:tblGrid>
              <a:tr h="6035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 smtClean="0"/>
                        <a:t>OpenFlow</a:t>
                      </a:r>
                      <a:endParaRPr lang="en-US" dirty="0" smtClean="0"/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</a:tr>
              <a:tr h="60353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Up</a:t>
                      </a:r>
                      <a:r>
                        <a:rPr lang="en-US" baseline="0" dirty="0" smtClean="0"/>
                        <a:t> to 38 packet header fields</a:t>
                      </a:r>
                      <a:endParaRPr lang="en-US" dirty="0"/>
                    </a:p>
                  </a:txBody>
                  <a:tcPr/>
                </a:tc>
              </a:tr>
              <a:tr h="60353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(SDN) Has</a:t>
                      </a:r>
                      <a:r>
                        <a:rPr lang="en-US" baseline="0" dirty="0" smtClean="0"/>
                        <a:t> global view, centralized control plan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3" name="Straight Arrow Connector 2"/>
          <p:cNvCxnSpPr>
            <a:stCxn id="6" idx="3"/>
            <a:endCxn id="12" idx="1"/>
          </p:cNvCxnSpPr>
          <p:nvPr/>
        </p:nvCxnSpPr>
        <p:spPr>
          <a:xfrm flipV="1">
            <a:off x="3531388" y="2797884"/>
            <a:ext cx="1930704" cy="42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167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 Stat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2733333"/>
            <a:ext cx="6935788" cy="393407"/>
          </a:xfrm>
        </p:spPr>
        <p:txBody>
          <a:bodyPr>
            <a:norm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>
                <a:sym typeface="Wingdings"/>
              </a:rPr>
              <a:t>Trade-off between flexibility vs performance: 5-tuple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619250" y="3103673"/>
            <a:ext cx="6935788" cy="20702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charset="0"/>
              <a:buChar char="•"/>
            </a:pPr>
            <a:r>
              <a:rPr lang="en-US" dirty="0" smtClean="0"/>
              <a:t>Objectives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Propose rule aggregation algorithm to minimize number of entries stored </a:t>
            </a:r>
            <a:r>
              <a:rPr lang="en-US" dirty="0" smtClean="0">
                <a:sym typeface="Wingdings"/>
              </a:rPr>
              <a:t> reduce the storage space requirement</a:t>
            </a:r>
            <a:endParaRPr lang="en-US" dirty="0" smtClean="0"/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Propose flow classification method to minimize the lookup time </a:t>
            </a:r>
            <a:r>
              <a:rPr lang="en-US" dirty="0" smtClean="0">
                <a:sym typeface="Wingdings"/>
              </a:rPr>
              <a:t> reduce processing latency</a:t>
            </a:r>
            <a:endParaRPr lang="en-US" dirty="0" smtClean="0"/>
          </a:p>
          <a:p>
            <a:pPr marL="698500" lvl="1" indent="-342900">
              <a:buFont typeface="Arial" charset="0"/>
              <a:buChar char="•"/>
            </a:pP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306379" y="1305669"/>
            <a:ext cx="7397883" cy="90069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372080" y="1513887"/>
            <a:ext cx="484979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306379" y="13353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lexibilit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198722" y="133894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Performance</a:t>
            </a:r>
            <a:endParaRPr lang="en-US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777193" y="1523606"/>
            <a:ext cx="0" cy="35411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2440023" y="183703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SDN</a:t>
            </a:r>
            <a:endParaRPr lang="en-US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6749239" y="1523606"/>
            <a:ext cx="0" cy="35411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539394" y="1837030"/>
            <a:ext cx="492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TN</a:t>
            </a:r>
            <a:endParaRPr lang="en-US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4528858" y="1546673"/>
            <a:ext cx="0" cy="35411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168538" y="1860097"/>
            <a:ext cx="958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5-Tup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827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  <p:bldP spid="13" grpId="0" animBg="1"/>
      <p:bldP spid="8" grpId="0"/>
      <p:bldP spid="9" grpId="0"/>
      <p:bldP spid="12" grpId="0"/>
      <p:bldP spid="15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ed Wor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8"/>
            <a:ext cx="7420578" cy="4401373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Packet Classification: Well-known topic for research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Decision-tree based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Well-known approach, such as in </a:t>
            </a:r>
            <a:r>
              <a:rPr lang="en-US" dirty="0" err="1" smtClean="0"/>
              <a:t>HiCut</a:t>
            </a:r>
            <a:r>
              <a:rPr lang="en-US" dirty="0" smtClean="0"/>
              <a:t> and </a:t>
            </a:r>
            <a:r>
              <a:rPr lang="en-US" dirty="0" err="1" smtClean="0"/>
              <a:t>HyperCut</a:t>
            </a:r>
            <a:endParaRPr lang="en-US" dirty="0" smtClean="0"/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Cons: Tree size grows significantly due to finer TE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TCAM-based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Fast lookup proces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Cons: high implementation cost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Tuple Space Search (TSS)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Very flexible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Cons: high processing latency for high number of rules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Main Idea: </a:t>
            </a:r>
            <a:r>
              <a:rPr lang="en-US" dirty="0"/>
              <a:t> </a:t>
            </a:r>
            <a:r>
              <a:rPr lang="en-US" dirty="0" smtClean="0"/>
              <a:t>MC-SBC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Modified TSS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Send rules and packets to specific smaller lookup tables</a:t>
            </a:r>
          </a:p>
          <a:p>
            <a:pPr marL="698500" lvl="1" indent="-34290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59961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893427"/>
            <a:ext cx="6935788" cy="668338"/>
          </a:xfrm>
        </p:spPr>
        <p:txBody>
          <a:bodyPr/>
          <a:lstStyle/>
          <a:p>
            <a:r>
              <a:rPr lang="en-US" sz="4800" dirty="0" smtClean="0"/>
              <a:t>Platform Overview</a:t>
            </a: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39273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Overlay Router (OOR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1438253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Overlay network is one of the well-known implementation of SDN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OOR: Open-source platform to create programmable overlay net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1949" y="3020992"/>
            <a:ext cx="5870961" cy="2870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033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ctor Packet Processing (VPP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1484552"/>
          </a:xfrm>
        </p:spPr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 smtClean="0"/>
              <a:t>High </a:t>
            </a:r>
            <a:r>
              <a:rPr lang="en-US" dirty="0"/>
              <a:t>performance packet processing platform and runs entirely in the </a:t>
            </a:r>
            <a:r>
              <a:rPr lang="en-US" dirty="0" err="1" smtClean="0"/>
              <a:t>userspace</a:t>
            </a:r>
            <a:endParaRPr lang="en-US" dirty="0"/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Process multiple packets in a time by building </a:t>
            </a:r>
            <a:r>
              <a:rPr lang="en-US" dirty="0" err="1" smtClean="0"/>
              <a:t>superframe</a:t>
            </a:r>
            <a:endParaRPr lang="en-US" dirty="0" smtClean="0"/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Packets are processed through Packet Processing Graph</a:t>
            </a:r>
            <a:endParaRPr lang="en-US" dirty="0"/>
          </a:p>
          <a:p>
            <a:pPr marL="342900" indent="-342900">
              <a:buFont typeface="Arial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0062" y="3087448"/>
            <a:ext cx="4432622" cy="3496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386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</Template>
  <TotalTime>3192</TotalTime>
  <Words>1260</Words>
  <Application>Microsoft Macintosh PowerPoint</Application>
  <PresentationFormat>On-screen Show (4:3)</PresentationFormat>
  <Paragraphs>419</Paragraphs>
  <Slides>37</Slides>
  <Notes>9</Notes>
  <HiddenSlides>4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3" baseType="lpstr">
      <vt:lpstr>Calibri</vt:lpstr>
      <vt:lpstr>Cambria Math</vt:lpstr>
      <vt:lpstr>Wingdings</vt:lpstr>
      <vt:lpstr>Arial</vt:lpstr>
      <vt:lpstr>Template_KTH_with colours and grafs</vt:lpstr>
      <vt:lpstr>think-cell Slide</vt:lpstr>
      <vt:lpstr>Scalable 5-Tuple Packet Classification in Overlay Network</vt:lpstr>
      <vt:lpstr>Agenda</vt:lpstr>
      <vt:lpstr>Introduction</vt:lpstr>
      <vt:lpstr>Introduction</vt:lpstr>
      <vt:lpstr>Problem Statement</vt:lpstr>
      <vt:lpstr>Related Works</vt:lpstr>
      <vt:lpstr>Platform Overview</vt:lpstr>
      <vt:lpstr>Open Overlay Router (OOR)</vt:lpstr>
      <vt:lpstr>Vector Packet Processing (VPP)</vt:lpstr>
      <vt:lpstr>VPP Classifier</vt:lpstr>
      <vt:lpstr>Developments</vt:lpstr>
      <vt:lpstr>5-Tuple LCAF Implementation</vt:lpstr>
      <vt:lpstr>5-Tuple Mapping System</vt:lpstr>
      <vt:lpstr>5-Tuple Mapping System (Cont.)</vt:lpstr>
      <vt:lpstr>Rule Aggregation and Flow Classification</vt:lpstr>
      <vt:lpstr>Rule Aggregation</vt:lpstr>
      <vt:lpstr>Rule Aggregation (Cont.)</vt:lpstr>
      <vt:lpstr>Rule Aggregation (Cont.)</vt:lpstr>
      <vt:lpstr>Rule Aggregation (Cont.)</vt:lpstr>
      <vt:lpstr>Rule Aggregation (Cont.)</vt:lpstr>
      <vt:lpstr>Flow Classification</vt:lpstr>
      <vt:lpstr>Flow Classification (Cont.)</vt:lpstr>
      <vt:lpstr>Flow Classification (Cont.)</vt:lpstr>
      <vt:lpstr>Flow Classification (Cont.)</vt:lpstr>
      <vt:lpstr>Flow Classification (Cont.)</vt:lpstr>
      <vt:lpstr>Implementation in VPP</vt:lpstr>
      <vt:lpstr>Implementation in VPP (Cont.)</vt:lpstr>
      <vt:lpstr>Results &amp; Analysis</vt:lpstr>
      <vt:lpstr>Simulation and Testing Setup</vt:lpstr>
      <vt:lpstr>Result: Rule Aggregation</vt:lpstr>
      <vt:lpstr>Result: Flow Classification</vt:lpstr>
      <vt:lpstr>Conclusions</vt:lpstr>
      <vt:lpstr>Conclusions</vt:lpstr>
      <vt:lpstr>Future Works</vt:lpstr>
      <vt:lpstr>Thank You!</vt:lpstr>
      <vt:lpstr>Introduction</vt:lpstr>
      <vt:lpstr>Result: Flow Classific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-Tuple Packet Classification</dc:title>
  <dc:subject/>
  <dc:creator>Microsoft Office User</dc:creator>
  <cp:keywords/>
  <dc:description/>
  <cp:lastModifiedBy>Microsoft Office User</cp:lastModifiedBy>
  <cp:revision>124</cp:revision>
  <cp:lastPrinted>2013-05-27T09:10:21Z</cp:lastPrinted>
  <dcterms:created xsi:type="dcterms:W3CDTF">2016-08-23T09:56:48Z</dcterms:created>
  <dcterms:modified xsi:type="dcterms:W3CDTF">2016-09-07T16:56:44Z</dcterms:modified>
  <cp:category/>
</cp:coreProperties>
</file>